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notesSlides/notesSlide43.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notesSlides/notesSlide44.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9"/>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8F465239-22A5-4028-9BCA-A58E24200DB1}">
          <p14:sldIdLst>
            <p14:sldId id="2147477365"/>
            <p14:sldId id="2147477366"/>
            <p14:sldId id="2147477367"/>
            <p14:sldId id="2147477368"/>
            <p14:sldId id="2147477369"/>
            <p14:sldId id="2147477370"/>
            <p14:sldId id="2147477371"/>
            <p14:sldId id="2147477372"/>
            <p14:sldId id="2147477373"/>
            <p14:sldId id="2147477374"/>
            <p14:sldId id="2147477375"/>
          </p14:sldIdLst>
        </p14:section>
        <p14:section name="Sector Shelf Price/Vol Comparison" id="{D668BB0A-C1A4-4B8A-AFC2-646B82DFCA77}">
          <p14:sldIdLst>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 Avg Price/Vol Comparison" id="{6FC08B7A-D197-4A92-8AA3-1B092FA1BD76}">
          <p14:sldIdLst>
            <p14:sldId id="2147477387"/>
            <p14:sldId id="2147477388"/>
            <p14:sldId id="2147477389"/>
            <p14:sldId id="2147477390"/>
            <p14:sldId id="2147477391"/>
            <p14:sldId id="2147477392"/>
            <p14:sldId id="2147477393"/>
            <p14:sldId id="2147477394"/>
            <p14:sldId id="2147477395"/>
            <p14:sldId id="2147477396"/>
            <p14:sldId id="2147477397"/>
          </p14:sldIdLst>
        </p14:section>
        <p14:section name="Segment Shelf Price/Vol Comparison" id="{F6B0F938-DA94-490C-A11E-427571345325}">
          <p14:sldIdLst>
            <p14:sldId id="2147477398"/>
            <p14:sldId id="2147477399"/>
            <p14:sldId id="2147477400"/>
            <p14:sldId id="2147477401"/>
            <p14:sldId id="2147477402"/>
            <p14:sldId id="2147477403"/>
            <p14:sldId id="2147477404"/>
            <p14:sldId id="2147477405"/>
            <p14:sldId id="2147477406"/>
            <p14:sldId id="2147477407"/>
            <p14:sldId id="21474774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6/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35465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37526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55628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96945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19675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17184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124875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870665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242408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8264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725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64135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26666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44320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37022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97881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55839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258032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09860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3438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02265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26647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558211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33671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438598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88380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03499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449297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011336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09107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5220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07201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7235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252811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87172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914545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711487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914648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57198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66528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69248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25622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36124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67262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4356</Words>
  <Application>Microsoft Office PowerPoint</Application>
  <PresentationFormat>On-screen Show (16:9)</PresentationFormat>
  <Paragraphs>924</Paragraphs>
  <Slides>44</Slides>
  <Notes>4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6T12:4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